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457" r:id="rId2"/>
    <p:sldId id="458" r:id="rId3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45"/>
    <p:restoredTop sz="94643"/>
  </p:normalViewPr>
  <p:slideViewPr>
    <p:cSldViewPr snapToGrid="0" snapToObjects="1">
      <p:cViewPr varScale="1">
        <p:scale>
          <a:sx n="49" d="100"/>
          <a:sy n="49" d="100"/>
        </p:scale>
        <p:origin x="176" y="1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38D1364-E631-954F-B5DF-5E42CD4D4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063F497-D960-F14D-B058-808C16C551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1C98178-F356-B24C-86DB-1FB109A6F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44E3E9A-3E8C-994F-B2E2-030400655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25D7821-1DE2-884C-9BB9-1D40C551D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4853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FFC3265-A42E-4D45-A958-9BE0BD5F0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DE23AA38-B583-2445-A7DC-36D9E3C0A5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D60D9B1C-850A-A240-97C3-842C213FAF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BD438CC-80B1-2A4A-AEB8-CA98EF28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05ECA9C-B220-F647-B2D7-79FA4D61B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64325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DB7E248B-53C5-3340-B190-BAEF04E4EA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9AF4EBAE-8A84-DF4B-995C-85ADC20299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7D6115F-4AB0-3E4F-80EE-1D90C422F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31E9D86-4549-DA41-8BC0-BFE469D90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2310082-992F-9744-86A9-5E624C391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479592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（基本版） タイトル ロゴ無_Proposa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1189575" y="2581322"/>
            <a:ext cx="576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189893" y="3402000"/>
            <a:ext cx="576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3282575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DAF1D59-6DFC-3748-AFF0-59BF4EA70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8DD897A9-B8CE-0242-8433-46A89C407B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950203B2-810B-694A-8765-2787085B5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8FA2268-8586-BA46-86E3-0D06BEA1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693CDC1-AAE1-704E-99CF-41751CE60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1842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DADC569-44A6-DD41-AC00-2FF89349A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57C6399-5816-5246-8974-BBEFE0F56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C8AA36-DA0F-B64C-8FC5-DF32A7275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F108F32-1A4F-1541-8F0D-013C00675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99AF842-83C7-CA4C-8174-32FE234C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335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62AD75E-7C0D-694B-8B24-77A38D946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A2D245A-C8B7-DA43-BAEC-BAF87E4AA5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AF29A5-E199-B445-8F10-B9F5F2571D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2C525E81-BD76-0D48-AF68-A51605C2A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82185C44-E76C-CA44-BD6C-BD946FD69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F172F51D-1380-BE46-993C-09E1D83B2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93311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75F1624-CEAC-F240-9A49-E00840C80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1FE0B1B4-42D9-8442-8F32-ACC0343DC6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F23F07B4-A9F3-B54F-B251-9C5B9731C7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DF1B135-C016-1045-A94B-41506F4C24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9EA39E3E-7B8B-994F-AA50-70C25CA8F9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2372CCA6-8A65-EA4D-B759-C34354BC8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D9E2B70-8F8E-4244-BC42-F78B8A758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6DC5B241-EA52-D440-909D-364BA7B99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91180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5E9777-759F-514E-953F-BA6964A80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0638DB20-37A9-AF44-8177-EDE40BC874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112581B-E10A-CF49-BA88-ECD416CD3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18BA6C7-6295-954A-8444-0076B640F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4090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773802F8-067D-6749-9E42-07CDF25CB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9ED1503F-CF0C-FD46-95C8-0F38C08F8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AC03FCE-2B52-9740-B835-E9A0E9187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34651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167C07D-A056-BE44-A1DB-FC6611A34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2AEAC14-753F-B444-8261-5E8A914D15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AE8677F-0418-C541-A316-E4CFDF0411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247CEFB3-0E50-0A42-85BC-D40A2E2CF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920C3CBD-BA52-934B-834D-AFEE877E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224B4C4A-2D5B-354C-9941-54DA528A8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10184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3F6329D-7E2E-E84C-94BC-55E9F5725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AF110FB3-C94D-DF45-9E03-7AF26911F6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8CCEF202-D080-3A46-A5D5-5F9CF14872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FE1AB85-2A1B-684A-B894-6D8DC6915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4564E4C-D2D1-454D-96E5-AEDCCCD9B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1EA5E82-8DC6-0F42-80C3-AC3828B4A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68665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C90E655-CF4C-A343-9B78-3DC54C58F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6C5AB39-3814-8C43-BB37-C5B8215BF5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65F3F4E-C83F-7147-B0DB-5F21364844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4F900F-D6FA-C94E-996A-6C0334676BA0}" type="datetimeFigureOut">
              <a:rPr kumimoji="1" lang="ja-JP" altLang="en-US" smtClean="0"/>
              <a:t>2019/3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C19E039C-8C10-A14C-BBE6-28C2DB99F0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5DE7952-1839-074E-A8EA-1085B6378B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08B8E9-BDF2-684E-B32B-970AC6E53D7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7086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altLang="ja-JP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LOTrip</a:t>
            </a:r>
            <a:r>
              <a:rPr lang="en-US" altLang="ja-JP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1" lang="ja-JP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/>
              <a:t>平成</a:t>
            </a:r>
            <a:r>
              <a:rPr lang="en-US" altLang="ja-JP" dirty="0"/>
              <a:t>31</a:t>
            </a:r>
            <a:r>
              <a:rPr lang="ja-JP" altLang="en-US"/>
              <a:t>年</a:t>
            </a:r>
            <a:r>
              <a:rPr lang="en-US" altLang="ja-JP" dirty="0"/>
              <a:t>3</a:t>
            </a:r>
            <a:r>
              <a:rPr lang="ja-JP" altLang="en-US"/>
              <a:t>月</a:t>
            </a:r>
            <a:r>
              <a:rPr lang="en-US" altLang="ja-JP" dirty="0"/>
              <a:t>24</a:t>
            </a:r>
            <a:r>
              <a:rPr lang="ja-JP" altLang="en-US"/>
              <a:t>日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30611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118CBB5B-36D6-C048-9494-3C00B70EE560}"/>
              </a:ext>
            </a:extLst>
          </p:cNvPr>
          <p:cNvSpPr txBox="1">
            <a:spLocks/>
          </p:cNvSpPr>
          <p:nvPr/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kumimoji="1" sz="2400" kern="12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sz="2800" b="1"/>
              <a:t>目次</a:t>
            </a:r>
            <a:endParaRPr lang="ja-JP" altLang="en-US" sz="2800" b="1" dirty="0"/>
          </a:p>
        </p:txBody>
      </p:sp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9A3F68AA-CFC7-7D48-BCD7-5EB170ADEC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970456"/>
              </p:ext>
            </p:extLst>
          </p:nvPr>
        </p:nvGraphicFramePr>
        <p:xfrm>
          <a:off x="481015" y="1314449"/>
          <a:ext cx="8662985" cy="4668339"/>
        </p:xfrm>
        <a:graphic>
          <a:graphicData uri="http://schemas.openxmlformats.org/drawingml/2006/table">
            <a:tbl>
              <a:tblPr/>
              <a:tblGrid>
                <a:gridCol w="6107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57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56113">
                <a:tc>
                  <a:txBody>
                    <a:bodyPr/>
                    <a:lstStyle/>
                    <a:p>
                      <a:pPr marL="228600" lvl="0" indent="-228600">
                        <a:buFont typeface="+mj-lt"/>
                        <a:buAutoNum type="arabicPeriod"/>
                      </a:pPr>
                      <a:r>
                        <a:rPr kumimoji="0" lang="ja-JP" altLang="en-US" sz="1200" b="0" dirty="0">
                          <a:latin typeface="Arial" charset="0"/>
                          <a:ea typeface="ＭＳ Ｐゴシック" charset="-128"/>
                        </a:rPr>
                        <a:t>アプリ開発の目的</a:t>
                      </a:r>
                    </a:p>
                  </a:txBody>
                  <a:tcPr marL="72000" marR="72000" marT="72007" marB="72007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587750" algn="r"/>
                        </a:tabLst>
                        <a:defRPr/>
                      </a:pPr>
                      <a:r>
                        <a:rPr kumimoji="0" lang="en-US" altLang="ja-JP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P.3</a:t>
                      </a:r>
                      <a:endParaRPr kumimoji="0" lang="ja-JP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72000" marR="72000" marT="72007" marB="7200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6113">
                <a:tc>
                  <a:txBody>
                    <a:bodyPr/>
                    <a:lstStyle/>
                    <a:p>
                      <a:pPr marL="228600" lvl="0" indent="-228600">
                        <a:buFont typeface="+mj-lt"/>
                        <a:buAutoNum type="arabicPeriod" startAt="2"/>
                      </a:pPr>
                      <a:r>
                        <a:rPr kumimoji="0" lang="ja-JP" altLang="en-US" sz="1200" b="0" dirty="0">
                          <a:latin typeface="Arial" charset="0"/>
                          <a:ea typeface="ＭＳ Ｐゴシック" charset="-128"/>
                        </a:rPr>
                        <a:t>アプリの概要</a:t>
                      </a:r>
                    </a:p>
                  </a:txBody>
                  <a:tcPr marL="72000" marR="72000" marT="72007" marB="72007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587750" algn="r"/>
                        </a:tabLst>
                        <a:defRPr/>
                      </a:pPr>
                      <a:r>
                        <a:rPr kumimoji="0" lang="en-US" altLang="ja-JP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charset="-128"/>
                        </a:rPr>
                        <a:t>P.7</a:t>
                      </a:r>
                    </a:p>
                  </a:txBody>
                  <a:tcPr marL="72000" marR="72000" marT="72007" marB="7200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6113">
                <a:tc gridSpan="2">
                  <a:txBody>
                    <a:bodyPr/>
                    <a:lstStyle/>
                    <a:p>
                      <a:pPr marL="228600" lvl="0" indent="-228600">
                        <a:buFont typeface="+mj-lt"/>
                        <a:buAutoNum type="arabicPeriod" startAt="3"/>
                      </a:pPr>
                      <a:endParaRPr kumimoji="0" lang="ja-JP" altLang="en-US" sz="1200" b="0" dirty="0">
                        <a:latin typeface="Arial" charset="0"/>
                        <a:ea typeface="ＭＳ Ｐゴシック" charset="-128"/>
                      </a:endParaRPr>
                    </a:p>
                  </a:txBody>
                  <a:tcPr marL="72000" marR="72000" marT="72007" marB="72007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>
                          <a:tab pos="3587750" algn="r"/>
                        </a:tabLst>
                        <a:defRPr/>
                      </a:pPr>
                      <a:endParaRPr kumimoji="0" lang="en-US" altLang="ja-JP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-128"/>
                      </a:endParaRPr>
                    </a:p>
                  </a:txBody>
                  <a:tcPr marL="72000" marR="72000" marT="72007" marB="7200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653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22</Words>
  <Application>Microsoft Macintosh PowerPoint</Application>
  <PresentationFormat>ワイド画面</PresentationFormat>
  <Paragraphs>7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ＭＳ Ｐゴシック</vt:lpstr>
      <vt:lpstr>游ゴシック</vt:lpstr>
      <vt:lpstr>游ゴシック Light</vt:lpstr>
      <vt:lpstr>Arial</vt:lpstr>
      <vt:lpstr>Times New Roman</vt:lpstr>
      <vt:lpstr>Wingdings</vt:lpstr>
      <vt:lpstr>Office テーマ</vt:lpstr>
      <vt:lpstr>think-cell Slide</vt:lpstr>
      <vt:lpstr>SLOTrip </vt:lpstr>
      <vt:lpstr>PowerPoint プレゼンテーション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販促アプリ開発プロジェクト　要件定義書</dc:title>
  <dc:creator>かずたか あんどー</dc:creator>
  <cp:lastModifiedBy>かずたか あんどー</cp:lastModifiedBy>
  <cp:revision>4</cp:revision>
  <dcterms:created xsi:type="dcterms:W3CDTF">2019-03-24T03:56:42Z</dcterms:created>
  <dcterms:modified xsi:type="dcterms:W3CDTF">2019-03-24T04:03:26Z</dcterms:modified>
</cp:coreProperties>
</file>